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9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63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1/04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1/04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28442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0368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6916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38173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8449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02883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3224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806188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9970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899306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27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>
                <a:defRPr/>
              </a:pPr>
              <a:t>11 April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128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7513386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025091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30A8CE32-E3E5-40B7-B631-13AF91669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30A8CE32-E3E5-40B7-B631-13AF916692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7E170-7CEB-440A-943C-1E03678B1948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28D42760-A8C4-47D6-9CEA-D7BA0EA39985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11. April 2018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C1369-72F8-4CD9-8750-170A89B0871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A69ED0C3-2E19-403B-A0DA-A3A4816839A4}" type="slidenum">
              <a:rPr lang="de-CH" altLang="fr-FR" sz="900">
                <a:solidFill>
                  <a:srgbClr val="7F7F7F"/>
                </a:solidFill>
              </a:rPr>
              <a:pPr>
                <a:buSzPct val="100000"/>
              </a:pPr>
              <a:t>‹N°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BA780E98-72C6-4930-9038-661D7A62C9B6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1B75DEA-968B-4272-AF3C-9EE45FFE3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C281DD8-796B-4D74-84D1-C99978CBFA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C99D6BC-DA3E-44C2-8D9B-A36B924F70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3B01CEE-8BF1-4DB4-BE98-237110B8053F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CE47C79F-A49D-4D47-87FF-F501D91167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CE47C79F-A49D-4D47-87FF-F501D91167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407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748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2982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00963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40226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0280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4836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7853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>
                <a:defRPr/>
              </a:pPr>
              <a:t>11 April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5"/>
    </p:custDataLst>
    <p:extLst>
      <p:ext uri="{BB962C8B-B14F-4D97-AF65-F5344CB8AC3E}">
        <p14:creationId xmlns:p14="http://schemas.microsoft.com/office/powerpoint/2010/main" val="10507720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Fim de paradas causadas por componentes obsoletos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Conversão do PLC Siemens S5 para S7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/>
              <a:t>Valor: Obsolescência</a:t>
            </a:r>
            <a:endParaRPr lang="pt-BR" dirty="0"/>
          </a:p>
          <a:p>
            <a:r>
              <a:rPr dirty="0"/>
              <a:t>Equipamento: Sopradoras Séries 1 (SBO 2, SBO 4, SBO 6, SBO 10, SBO 16, SBO 24, SBO 40)</a:t>
            </a:r>
            <a:endParaRPr lang="pt-BR" dirty="0"/>
          </a:p>
          <a:p>
            <a:r>
              <a:rPr dirty="0"/>
              <a:t>Catálogo código: 42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Desde 2014, Siemens deixou de produzir componentes S5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Antecipar esta modernização para evitar prováveis falhas causando a parada de seu equipamen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durante mais de 10 semanas</a:t>
                      </a:r>
                      <a:r>
                        <a:rPr lang="en-US" sz="1200" b="0" dirty="0"/>
                        <a:t> (tempo médio para efetuar as alterações no software e no hardware)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A conversão dos componentes S5 para S7 (hardware e software), efetuada pelos engenheiros da Sidel, lhe permite manter sua máquina modernizável seja qual for a evolução de que necessite futurament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Para garantir uma perfeita conversão do software para a nova versão S7, esta última é testada em banco de ensaio antes de ser instalada na máquina</a:t>
                      </a: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vo software de programação S7, concebido para opções específicas fundadas no equipamento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s componentes S7 são montados e conectados pela Sidel a fim de poupar tempo a sua fábrica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ara a SBO integrando um pirômetro, existe uma nova visualização LCD compatível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11" descr="S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164" y="3825044"/>
            <a:ext cx="1503515" cy="137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639FBEC3-29C5-4B9A-ACEA-095D75CFC22F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Arial" charset="0"/>
              </a:rPr>
              <a:t>DESCRIÇÃO</a:t>
            </a:r>
            <a:endParaRPr lang="pt-BR" altLang="de-DE" sz="1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57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1_FINAL</Template>
  <TotalTime>0</TotalTime>
  <Words>197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Fim de paradas causadas por componentes obsoletos 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CC processing power</dc:title>
  <dc:creator>Sorega, Dan</dc:creator>
  <cp:lastModifiedBy>Sorega, Dan</cp:lastModifiedBy>
  <cp:revision>6</cp:revision>
  <dcterms:created xsi:type="dcterms:W3CDTF">2018-04-10T08:59:12Z</dcterms:created>
  <dcterms:modified xsi:type="dcterms:W3CDTF">2018-04-11T14:0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8-04-10T10:59:34.3671323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8-04-10T10:59:34.3671323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